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86" r:id="rId13"/>
    <p:sldId id="287" r:id="rId14"/>
    <p:sldId id="265" r:id="rId15"/>
    <p:sldId id="259" r:id="rId16"/>
    <p:sldId id="266" r:id="rId17"/>
    <p:sldId id="280" r:id="rId18"/>
    <p:sldId id="273" r:id="rId19"/>
    <p:sldId id="274" r:id="rId20"/>
    <p:sldId id="267" r:id="rId21"/>
    <p:sldId id="268" r:id="rId22"/>
    <p:sldId id="270" r:id="rId23"/>
    <p:sldId id="271" r:id="rId24"/>
    <p:sldId id="276" r:id="rId25"/>
    <p:sldId id="277" r:id="rId26"/>
    <p:sldId id="278" r:id="rId27"/>
    <p:sldId id="279" r:id="rId28"/>
    <p:sldId id="281" r:id="rId29"/>
    <p:sldId id="282" r:id="rId30"/>
    <p:sldId id="283" r:id="rId31"/>
    <p:sldId id="284" r:id="rId32"/>
    <p:sldId id="285" r:id="rId33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66" d="100"/>
          <a:sy n="66" d="100"/>
        </p:scale>
        <p:origin x="2856" y="6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30/12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30/12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2540" y="715186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1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7972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FALS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1605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2889" y="9112094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2889" y="976968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GET</a:t>
            </a:r>
            <a:r>
              <a:rPr lang="da-DK" sz="1100" b="1" dirty="0">
                <a:solidFill>
                  <a:schemeClr val="accent4"/>
                </a:solidFill>
              </a:rPr>
              <a:t>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Perform </a:t>
            </a:r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r>
              <a:rPr lang="da-DK" sz="1100" b="1" dirty="0">
                <a:solidFill>
                  <a:schemeClr val="accent4"/>
                </a:solidFill>
              </a:rPr>
              <a:t> /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Mobilepay </a:t>
            </a:r>
            <a:r>
              <a:rPr lang="da-DK" sz="1100" b="1" dirty="0" err="1">
                <a:solidFill>
                  <a:schemeClr val="accent4"/>
                </a:solidFill>
              </a:rPr>
              <a:t>button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that</a:t>
              </a:r>
              <a:r>
                <a:rPr lang="da-DK" sz="1100" b="1" dirty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oul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be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(capture | cancel)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Unit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10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8.6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DELETE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r>
              <a:rPr lang="en-GB" sz="1100" b="1" dirty="0">
                <a:solidFill>
                  <a:schemeClr val="accent4"/>
                </a:solidFill>
              </a:rPr>
              <a:t>/{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}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079178" y="646706"/>
            <a:ext cx="6021881" cy="5095344"/>
            <a:chOff x="3079178" y="646706"/>
            <a:chExt cx="6021881" cy="509534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3552572" y="2403421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 flipV="1">
              <a:off x="3584568" y="2261937"/>
              <a:ext cx="4644000" cy="842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4418831" y="200986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315606" y="2490947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HTTP 409 – 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lready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ctiv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>
              <a:off x="8255971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551904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3559040" y="32920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V="1">
              <a:off x="3591036" y="31552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425299" y="28984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s?orderId</a:t>
              </a:r>
              <a:r>
                <a:rPr lang="en-GB" sz="1100" b="1" dirty="0">
                  <a:solidFill>
                    <a:schemeClr val="accent4"/>
                  </a:solidFill>
                </a:rPr>
                <a:t>=…&amp;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322074" y="33795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[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]</a:t>
              </a:r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>
              <a:off x="3552572" y="4188636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V="1">
              <a:off x="3584568" y="4051885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418831" y="379508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cancel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15606" y="4276162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OK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0844" y="50785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flipV="1">
              <a:off x="3572840" y="49417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407103" y="46849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03878" y="51660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en-GB" sz="1100" b="1" dirty="0" err="1">
                <a:solidFill>
                  <a:schemeClr val="accent4"/>
                </a:solidFill>
              </a:rPr>
              <a:t>payments?orderId</a:t>
            </a:r>
            <a:r>
              <a:rPr lang="en-GB" sz="1100" b="1" dirty="0">
                <a:solidFill>
                  <a:schemeClr val="accent4"/>
                </a:solidFill>
              </a:rPr>
              <a:t>=…&amp;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=…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[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]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>
                <a:solidFill>
                  <a:schemeClr val="accent4"/>
                </a:solidFill>
              </a:rPr>
              <a:t>payments/{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}/(cancel | capture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OK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stores?merchantBrandId</a:t>
            </a:r>
            <a:r>
              <a:rPr lang="da-DK" sz="1100" b="1" dirty="0">
                <a:solidFill>
                  <a:schemeClr val="accent4"/>
                </a:solidFill>
              </a:rPr>
              <a:t>=…&amp;</a:t>
            </a:r>
            <a:r>
              <a:rPr lang="da-DK" sz="1100" b="1" dirty="0" err="1">
                <a:solidFill>
                  <a:schemeClr val="accent4"/>
                </a:solidFill>
              </a:rPr>
              <a:t>merchantLocationId</a:t>
            </a:r>
            <a:r>
              <a:rPr lang="da-DK" sz="1100" b="1" dirty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err="1">
                <a:solidFill>
                  <a:schemeClr val="accent4"/>
                </a:solidFill>
              </a:rPr>
              <a:t>storeId</a:t>
            </a:r>
            <a:r>
              <a:rPr lang="da-DK" sz="1100" b="1" dirty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13296" y="245096"/>
            <a:ext cx="8146244" cy="8782976"/>
            <a:chOff x="313296" y="245096"/>
            <a:chExt cx="8146244" cy="878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144000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758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701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898173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629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03671" y="81965"/>
            <a:ext cx="9381573" cy="11311295"/>
            <a:chOff x="303671" y="81965"/>
            <a:chExt cx="9381573" cy="11311295"/>
          </a:xfrm>
        </p:grpSpPr>
        <p:sp>
          <p:nvSpPr>
            <p:cNvPr id="7" name="Oval 6"/>
            <p:cNvSpPr/>
            <p:nvPr/>
          </p:nvSpPr>
          <p:spPr>
            <a:xfrm>
              <a:off x="2576793" y="51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758036"/>
              <a:ext cx="0" cy="118062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8196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11574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23574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03803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69740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23574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13740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95326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937866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417409"/>
              <a:ext cx="5668451" cy="524125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65866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69327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69808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09441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09922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39574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39574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69740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WithUser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br>
              <a:rPr lang="da-DK" sz="1100" b="1" dirty="0">
                <a:solidFill>
                  <a:schemeClr val="accent4"/>
                </a:solidFill>
              </a:rPr>
            </a:b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759</TotalTime>
  <Words>931</Words>
  <Application>Microsoft Macintosh PowerPoint</Application>
  <PresentationFormat>Custom</PresentationFormat>
  <Paragraphs>304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Microsoft Office User</cp:lastModifiedBy>
  <cp:revision>93</cp:revision>
  <dcterms:created xsi:type="dcterms:W3CDTF">2019-10-15T10:47:01Z</dcterms:created>
  <dcterms:modified xsi:type="dcterms:W3CDTF">2020-12-30T12:51:13Z</dcterms:modified>
</cp:coreProperties>
</file>